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15" r:id="rId5"/>
  </p:sldMasterIdLst>
  <p:notesMasterIdLst>
    <p:notesMasterId r:id="rId12"/>
  </p:notesMasterIdLst>
  <p:sldIdLst>
    <p:sldId id="326" r:id="rId6"/>
    <p:sldId id="325" r:id="rId7"/>
    <p:sldId id="327" r:id="rId8"/>
    <p:sldId id="330" r:id="rId9"/>
    <p:sldId id="329" r:id="rId10"/>
    <p:sldId id="345" r:id="rId11"/>
  </p:sldIdLst>
  <p:sldSz cx="9906000" cy="6858000" type="A4"/>
  <p:notesSz cx="6797675" cy="9874250"/>
  <p:custShowLst>
    <p:custShow name="Contacts" id="0">
      <p:sldLst/>
    </p:custShow>
  </p:custShowLst>
  <p:custDataLst>
    <p:tags r:id="rId13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35">
          <p15:clr>
            <a:srgbClr val="A4A3A4"/>
          </p15:clr>
        </p15:guide>
        <p15:guide id="2" orient="horz" pos="2360">
          <p15:clr>
            <a:srgbClr val="A4A3A4"/>
          </p15:clr>
        </p15:guide>
        <p15:guide id="3" orient="horz" pos="1508">
          <p15:clr>
            <a:srgbClr val="A4A3A4"/>
          </p15:clr>
        </p15:guide>
        <p15:guide id="4" orient="horz" pos="2337">
          <p15:clr>
            <a:srgbClr val="A4A3A4"/>
          </p15:clr>
        </p15:guide>
        <p15:guide id="5" orient="horz" pos="3740">
          <p15:clr>
            <a:srgbClr val="A4A3A4"/>
          </p15:clr>
        </p15:guide>
        <p15:guide id="6" orient="horz" pos="3472">
          <p15:clr>
            <a:srgbClr val="A4A3A4"/>
          </p15:clr>
        </p15:guide>
        <p15:guide id="7" orient="horz" pos="1491">
          <p15:clr>
            <a:srgbClr val="A4A3A4"/>
          </p15:clr>
        </p15:guide>
        <p15:guide id="8" orient="horz" pos="3147">
          <p15:clr>
            <a:srgbClr val="A4A3A4"/>
          </p15:clr>
        </p15:guide>
        <p15:guide id="9" orient="horz" pos="1019">
          <p15:clr>
            <a:srgbClr val="A4A3A4"/>
          </p15:clr>
        </p15:guide>
        <p15:guide id="10" orient="horz" pos="2157">
          <p15:clr>
            <a:srgbClr val="A4A3A4"/>
          </p15:clr>
        </p15:guide>
        <p15:guide id="11" orient="horz" pos="4193">
          <p15:clr>
            <a:srgbClr val="A4A3A4"/>
          </p15:clr>
        </p15:guide>
        <p15:guide id="12" orient="horz" pos="908">
          <p15:clr>
            <a:srgbClr val="A4A3A4"/>
          </p15:clr>
        </p15:guide>
        <p15:guide id="13" pos="1896">
          <p15:clr>
            <a:srgbClr val="A4A3A4"/>
          </p15:clr>
        </p15:guide>
        <p15:guide id="14" pos="270">
          <p15:clr>
            <a:srgbClr val="A4A3A4"/>
          </p15:clr>
        </p15:guide>
        <p15:guide id="15" pos="3078">
          <p15:clr>
            <a:srgbClr val="A4A3A4"/>
          </p15:clr>
        </p15:guide>
        <p15:guide id="16" pos="399">
          <p15:clr>
            <a:srgbClr val="A4A3A4"/>
          </p15:clr>
        </p15:guide>
        <p15:guide id="17" pos="598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hemmerling" initials="e" lastIdx="1" clrIdx="0"/>
  <p:cmAuthor id="1" name="Paul Newsome" initials="PN" lastIdx="12" clrIdx="1"/>
  <p:cmAuthor id="2" name="Alison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509E"/>
    <a:srgbClr val="F68601"/>
    <a:srgbClr val="69BE28"/>
    <a:srgbClr val="6D2425"/>
    <a:srgbClr val="FFFFFF"/>
    <a:srgbClr val="000000"/>
    <a:srgbClr val="00203A"/>
    <a:srgbClr val="0065BD"/>
    <a:srgbClr val="D52B1E"/>
    <a:srgbClr val="6B75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2" autoAdjust="0"/>
    <p:restoredTop sz="93543" autoAdjust="0"/>
  </p:normalViewPr>
  <p:slideViewPr>
    <p:cSldViewPr snapToGrid="0" snapToObjects="1">
      <p:cViewPr varScale="1">
        <p:scale>
          <a:sx n="92" d="100"/>
          <a:sy n="92" d="100"/>
        </p:scale>
        <p:origin x="-738" y="-102"/>
      </p:cViewPr>
      <p:guideLst>
        <p:guide orient="horz" pos="335"/>
        <p:guide orient="horz" pos="2360"/>
        <p:guide orient="horz" pos="1508"/>
        <p:guide orient="horz" pos="2337"/>
        <p:guide orient="horz" pos="3740"/>
        <p:guide orient="horz" pos="3472"/>
        <p:guide orient="horz" pos="1491"/>
        <p:guide orient="horz" pos="3147"/>
        <p:guide orient="horz" pos="1019"/>
        <p:guide orient="horz" pos="2157"/>
        <p:guide orient="horz" pos="4193"/>
        <p:guide orient="horz" pos="908"/>
        <p:guide pos="1896"/>
        <p:guide pos="270"/>
        <p:guide pos="3078"/>
        <p:guide pos="399"/>
        <p:guide pos="5982"/>
      </p:guideLst>
    </p:cSldViewPr>
  </p:slideViewPr>
  <p:outlineViewPr>
    <p:cViewPr>
      <p:scale>
        <a:sx n="33" d="100"/>
        <a:sy n="33" d="100"/>
      </p:scale>
      <p:origin x="24" y="532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8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B2C744BD-48C8-426E-A578-38406B91FFD6}" type="datetimeFigureOut">
              <a:rPr lang="en-GB"/>
              <a:pPr>
                <a:defRPr/>
              </a:pPr>
              <a:t>23/01/2016</a:t>
            </a:fld>
            <a:endParaRPr lang="en-GB" dirty="0"/>
          </a:p>
        </p:txBody>
      </p:sp>
      <p:sp>
        <p:nvSpPr>
          <p:cNvPr id="389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7075" y="741363"/>
            <a:ext cx="5345113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8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691063"/>
            <a:ext cx="5438775" cy="44418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1228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8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08A0BFAA-0A50-44EB-A3E8-6F1A8FF83E7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48040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Documents\Work\Current jobs\Gazprom\Job ref 2635\Artwork\title9.JP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5803" y="870269"/>
            <a:ext cx="6879997" cy="100625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2800" b="0" baseline="0">
                <a:solidFill>
                  <a:schemeClr val="accent3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tit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15741" y="1858982"/>
            <a:ext cx="6878322" cy="512961"/>
          </a:xfrm>
          <a:effectLst/>
        </p:spPr>
        <p:txBody>
          <a:bodyPr wrap="square">
            <a:spAutoFit/>
          </a:bodyPr>
          <a:lstStyle>
            <a:lvl1pPr marL="0" indent="0">
              <a:lnSpc>
                <a:spcPts val="4000"/>
              </a:lnSpc>
              <a:buNone/>
              <a:defRPr sz="2400" b="0">
                <a:solidFill>
                  <a:schemeClr val="tx2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subtitle</a:t>
            </a:r>
            <a:endParaRPr lang="en-US" noProof="0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32883" y="2597150"/>
            <a:ext cx="6862917" cy="33158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 smtClean="0"/>
              <a:t>Click to insert date</a:t>
            </a:r>
          </a:p>
        </p:txBody>
      </p:sp>
      <p:pic>
        <p:nvPicPr>
          <p:cNvPr id="8" name="Picture 3" descr="E:\Documents\Work\Current jobs\Gazprom\Job ref 2635\Artwork\logo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5741" y="5701874"/>
            <a:ext cx="1835827" cy="725792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6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6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6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6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3" presetClass="entr" presetSubtype="3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4" grpId="0"/>
      <p:bldP spid="307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6"/>
            <a:ext cx="4446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373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86923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704"/>
            <a:ext cx="2925000" cy="4261551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86923" y="1886696"/>
            <a:ext cx="2925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61096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561095" y="1886696"/>
            <a:ext cx="2925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486923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559296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5351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7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872" y="435315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040096" y="435315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12750" y="385317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40096" y="385317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412750" y="4256371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5039973" y="4256371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4354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12874" y="1384320"/>
            <a:ext cx="9073222" cy="392982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874" y="5766052"/>
            <a:ext cx="9073222" cy="396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marL="9000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conclusion messag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 rot="10800000">
            <a:off x="2563337" y="5429851"/>
            <a:ext cx="4772297" cy="2880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/>
          <a:lstStyle>
            <a:lvl1pPr marL="90000" indent="0" algn="ctr">
              <a:buNone/>
              <a:defRPr sz="1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insert conclusion messag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2432510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/>
          <p:cNvSpPr>
            <a:spLocks noGrp="1"/>
          </p:cNvSpPr>
          <p:nvPr>
            <p:ph type="tbl" sz="quarter" idx="11"/>
          </p:nvPr>
        </p:nvSpPr>
        <p:spPr>
          <a:xfrm>
            <a:off x="412874" y="1384301"/>
            <a:ext cx="9073222" cy="4764498"/>
          </a:xfrm>
        </p:spPr>
        <p:txBody>
          <a:bodyPr/>
          <a:lstStyle/>
          <a:p>
            <a:r>
              <a:rPr lang="en-US" smtClean="0"/>
              <a:t>Click icon to add tab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11145160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86696"/>
            <a:ext cx="9073346" cy="4262102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9073346" cy="432000"/>
          </a:xfrm>
          <a:noFill/>
        </p:spPr>
        <p:txBody>
          <a:bodyPr anchor="ctr"/>
          <a:lstStyle>
            <a:lvl1pPr marL="0" indent="0" algn="ctr">
              <a:buNone/>
              <a:defRPr sz="20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882" y="1787500"/>
            <a:ext cx="9073223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1803278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93794"/>
            <a:ext cx="4446000" cy="4254454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039973" y="1886696"/>
            <a:ext cx="4446000" cy="425597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17200525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5039973" y="1886697"/>
            <a:ext cx="4446000" cy="4261552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text heading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750" y="1886696"/>
            <a:ext cx="4446000" cy="4261552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8526015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86695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039973" y="1886695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12750" y="4344396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12750" y="3828354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12750" y="4231553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5039973" y="4344396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5039973" y="3828354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039973" y="4231553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28746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0" y="3350309"/>
            <a:ext cx="9906000" cy="360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297" y="1384305"/>
            <a:ext cx="9425797" cy="4764499"/>
          </a:xfrm>
        </p:spPr>
        <p:txBody>
          <a:bodyPr/>
          <a:lstStyle>
            <a:lvl1pPr marL="342000" indent="-252000">
              <a:spcBef>
                <a:spcPts val="2500"/>
              </a:spcBef>
              <a:spcAft>
                <a:spcPts val="0"/>
              </a:spcAft>
              <a:buFont typeface="Calibri" pitchFamily="34" charset="0"/>
              <a:buChar char=" "/>
              <a:defRPr sz="2000" b="1"/>
            </a:lvl1pPr>
            <a:lvl2pPr marL="720000" indent="-252000">
              <a:spcBef>
                <a:spcPts val="2000"/>
              </a:spcBef>
              <a:buFont typeface="Calibri" pitchFamily="34" charset="0"/>
              <a:buChar char=" "/>
              <a:defRPr sz="1800" b="1"/>
            </a:lvl2pPr>
            <a:lvl3pPr marL="1008000" indent="-252000">
              <a:spcBef>
                <a:spcPts val="1000"/>
              </a:spcBef>
              <a:buFont typeface="Calibri" pitchFamily="34" charset="0"/>
              <a:buChar char=" "/>
              <a:defRPr sz="1800" b="1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040498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Documents\Work\Current jobs\Gazprom\Job ref 2635\Artwork\sect title9.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11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28291" y="2435544"/>
            <a:ext cx="6879997" cy="100625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2400" b="0">
                <a:solidFill>
                  <a:schemeClr val="accent3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section break title</a:t>
            </a:r>
            <a:endParaRPr lang="en-US" noProof="0" dirty="0" smtClean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8229" y="3424238"/>
            <a:ext cx="6878322" cy="512961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lnSpc>
                <a:spcPts val="4000"/>
              </a:lnSpc>
              <a:buNone/>
              <a:defRPr lang="en-US" sz="2000" b="0" noProof="0" dirty="0" smtClean="0">
                <a:solidFill>
                  <a:schemeClr val="tx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ts val="4000"/>
              </a:lnSpc>
              <a:spcBef>
                <a:spcPts val="600"/>
              </a:spcBef>
              <a:spcAft>
                <a:spcPts val="400"/>
              </a:spcAft>
              <a:buSzPct val="100000"/>
              <a:buFont typeface="Symbol" pitchFamily="18" charset="2"/>
              <a:buNone/>
            </a:pPr>
            <a:r>
              <a:rPr lang="en-GB" noProof="0" dirty="0" smtClean="0"/>
              <a:t>Click to insert section break subtitle</a:t>
            </a:r>
            <a:endParaRPr lang="en-US" noProof="0" dirty="0" smtClean="0"/>
          </a:p>
        </p:txBody>
      </p:sp>
      <p:pic>
        <p:nvPicPr>
          <p:cNvPr id="6" name="Picture 3" descr="E:\Documents\Work\Current jobs\Gazprom\Job ref 2635\Artwork\logo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9915" y="6251196"/>
            <a:ext cx="1131413" cy="412895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0" presetClass="entr" presetSubtype="0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 build="p">
        <p:tmplLst>
          <p:tmpl lvl="1">
            <p:tnLst>
              <p:par>
                <p:cTn presetID="50" presetClass="entr" presetSubtype="0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#ppt_w+.3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10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12874" y="1384305"/>
            <a:ext cx="9073222" cy="47644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36654886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26244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2672468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12750" y="3960635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12750" y="5248801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2512394" y="1384301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2512394" y="2664143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2512394" y="3960635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2512394" y="5248801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0306749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6"/>
            <a:ext cx="4446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96373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86923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704"/>
            <a:ext cx="2925000" cy="4261551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86923" y="1886696"/>
            <a:ext cx="2925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61096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561095" y="1886696"/>
            <a:ext cx="2925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155351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7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872" y="435315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040096" y="435315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12750" y="385317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40096" y="385317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274354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7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5"/>
          <p:cNvPicPr>
            <a:picLocks noChangeAspect="1" noChangeArrowheads="1"/>
          </p:cNvPicPr>
          <p:nvPr userDrawn="1">
            <p:custDataLst>
              <p:tags r:id="rId22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0" y="0"/>
            <a:ext cx="9906000" cy="1325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0" name="Rectangle 2"/>
          <p:cNvSpPr>
            <a:spLocks noGrp="1" noChangeArrowheads="1"/>
          </p:cNvSpPr>
          <p:nvPr>
            <p:ph type="title"/>
            <p:custDataLst>
              <p:tags r:id="rId23"/>
            </p:custDataLst>
          </p:nvPr>
        </p:nvSpPr>
        <p:spPr bwMode="auto">
          <a:xfrm>
            <a:off x="412883" y="269702"/>
            <a:ext cx="7920000" cy="81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insert title</a:t>
            </a:r>
            <a:endParaRPr lang="en-US" dirty="0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  <p:custDataLst>
              <p:tags r:id="rId24"/>
            </p:custDataLst>
          </p:nvPr>
        </p:nvSpPr>
        <p:spPr bwMode="auto">
          <a:xfrm>
            <a:off x="412872" y="1384301"/>
            <a:ext cx="9073224" cy="476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054" name="Rectangle 7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7270848" y="6557400"/>
            <a:ext cx="2065349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457200">
              <a:lnSpc>
                <a:spcPts val="900"/>
              </a:lnSpc>
            </a:pPr>
            <a:r>
              <a:rPr lang="en-US" sz="800" dirty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Gazprom </a:t>
            </a:r>
            <a:r>
              <a:rPr lang="en-US" sz="80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Marketing</a:t>
            </a:r>
            <a:r>
              <a:rPr lang="en-US" sz="800" baseline="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80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&amp; </a:t>
            </a:r>
            <a:r>
              <a:rPr lang="en-US" sz="800" dirty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Trading Limited</a:t>
            </a:r>
          </a:p>
        </p:txBody>
      </p:sp>
      <p:pic>
        <p:nvPicPr>
          <p:cNvPr id="8" name="Picture 3" descr="E:\Documents\Work\Current jobs\Gazprom\Job ref 2635\Artwork\logo.png"/>
          <p:cNvPicPr>
            <a:picLocks noChangeAspect="1" noChangeArrowheads="1"/>
          </p:cNvPicPr>
          <p:nvPr userDrawn="1">
            <p:custDataLst>
              <p:tags r:id="rId26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419915" y="6251196"/>
            <a:ext cx="1131413" cy="412895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 userDrawn="1">
            <p:custDataLst>
              <p:tags r:id="rId27"/>
            </p:custDataLst>
          </p:nvPr>
        </p:nvSpPr>
        <p:spPr>
          <a:xfrm>
            <a:off x="9179602" y="6548675"/>
            <a:ext cx="306494" cy="11541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0FFDD1D-899B-45D2-8EC4-ADCEDA541218}" type="slidenum">
              <a:rPr kumimoji="0" lang="en-GB" sz="800" b="1" i="0" u="none" strike="noStrike" kern="1200" cap="none" spc="0" normalizeH="0" baseline="0" noProof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ts val="9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1" i="0" u="none" strike="noStrike" kern="1200" cap="none" spc="0" normalizeH="0" baseline="0" noProof="0" dirty="0" err="1" smtClean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25" r:id="rId2"/>
    <p:sldLayoutId id="2147483921" r:id="rId3"/>
    <p:sldLayoutId id="2147483922" r:id="rId4"/>
    <p:sldLayoutId id="2147483931" r:id="rId5"/>
    <p:sldLayoutId id="2147483926" r:id="rId6"/>
    <p:sldLayoutId id="2147483928" r:id="rId7"/>
    <p:sldLayoutId id="2147483929" r:id="rId8"/>
    <p:sldLayoutId id="2147483930" r:id="rId9"/>
    <p:sldLayoutId id="2147483959" r:id="rId10"/>
    <p:sldLayoutId id="2147483960" r:id="rId11"/>
    <p:sldLayoutId id="2147483961" r:id="rId12"/>
    <p:sldLayoutId id="2147483927" r:id="rId13"/>
    <p:sldLayoutId id="2147483932" r:id="rId14"/>
    <p:sldLayoutId id="2147483955" r:id="rId15"/>
    <p:sldLayoutId id="2147483956" r:id="rId16"/>
    <p:sldLayoutId id="2147483958" r:id="rId17"/>
    <p:sldLayoutId id="2147483957" r:id="rId18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200" b="1">
          <a:solidFill>
            <a:schemeClr val="accent3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2pPr>
      <a:lvl3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3pPr>
      <a:lvl4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4pPr>
      <a:lvl5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5pPr>
      <a:lvl6pPr marL="4572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6pPr>
      <a:lvl7pPr marL="9144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7pPr>
      <a:lvl8pPr marL="13716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8pPr>
      <a:lvl9pPr marL="18288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9pPr>
    </p:titleStyle>
    <p:bodyStyle>
      <a:lvl1pPr marL="342000" indent="-252000" algn="l" rtl="0" eaLnBrk="1" fontAlgn="base" hangingPunct="1">
        <a:spcBef>
          <a:spcPts val="600"/>
        </a:spcBef>
        <a:spcAft>
          <a:spcPts val="400"/>
        </a:spcAft>
        <a:buSzPct val="100000"/>
        <a:buFont typeface="Symbol" pitchFamily="18" charset="2"/>
        <a:buChar char="·"/>
        <a:defRPr sz="16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1pPr>
      <a:lvl2pPr marL="720000" indent="-252000" algn="l" rtl="0" eaLnBrk="1" fontAlgn="base" hangingPunct="1">
        <a:lnSpc>
          <a:spcPct val="100000"/>
        </a:lnSpc>
        <a:spcBef>
          <a:spcPts val="400"/>
        </a:spcBef>
        <a:spcAft>
          <a:spcPct val="0"/>
        </a:spcAft>
        <a:buFont typeface="Calibri" pitchFamily="34" charset="0"/>
        <a:buChar char="–"/>
        <a:defRPr sz="14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2pPr>
      <a:lvl3pPr marL="1008000" indent="-252000" algn="l" rtl="0" eaLnBrk="1" fontAlgn="base" hangingPunct="1">
        <a:spcBef>
          <a:spcPts val="600"/>
        </a:spcBef>
        <a:spcAft>
          <a:spcPct val="0"/>
        </a:spcAft>
        <a:buFont typeface="Wingdings" pitchFamily="2" charset="2"/>
        <a:buChar char="§"/>
        <a:defRPr sz="14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3pPr>
      <a:lvl4pPr marL="1260000" indent="-1800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Font typeface="Courier New" pitchFamily="49" charset="0"/>
        <a:buChar char="o"/>
        <a:defRPr sz="12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4pPr>
      <a:lvl5pPr marL="1548000" indent="-1800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Font typeface="Calibri" pitchFamily="34" charset="0"/>
        <a:buChar char="*"/>
        <a:defRPr sz="12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5pPr>
      <a:lvl6pPr marL="10001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6pPr>
      <a:lvl7pPr marL="14573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7pPr>
      <a:lvl8pPr marL="19145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8pPr>
      <a:lvl9pPr marL="23717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Tech Punch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5741" y="1858982"/>
            <a:ext cx="6878322" cy="512961"/>
          </a:xfrm>
        </p:spPr>
        <p:txBody>
          <a:bodyPr/>
          <a:lstStyle/>
          <a:p>
            <a:r>
              <a:rPr lang="en-GB" dirty="0" smtClean="0"/>
              <a:t>Entity Framework 6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32883" y="2966145"/>
            <a:ext cx="6862917" cy="331580"/>
          </a:xfrm>
        </p:spPr>
        <p:txBody>
          <a:bodyPr/>
          <a:lstStyle/>
          <a:p>
            <a:r>
              <a:rPr lang="en-GB" dirty="0" smtClean="0"/>
              <a:t>Jean H.</a:t>
            </a:r>
          </a:p>
          <a:p>
            <a:endParaRPr lang="en-GB" dirty="0"/>
          </a:p>
          <a:p>
            <a:r>
              <a:rPr lang="en-GB" dirty="0" smtClean="0"/>
              <a:t>28 Jan 2016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708896"/>
            <a:ext cx="9073222" cy="5110013"/>
          </a:xfrm>
        </p:spPr>
        <p:txBody>
          <a:bodyPr/>
          <a:lstStyle/>
          <a:p>
            <a:endParaRPr lang="en-GB" dirty="0" smtClean="0"/>
          </a:p>
          <a:p>
            <a:r>
              <a:rPr lang="en-GB" sz="1800" dirty="0"/>
              <a:t>My experience with Entity </a:t>
            </a:r>
            <a:r>
              <a:rPr lang="en-GB" sz="1800" dirty="0" smtClean="0"/>
              <a:t>Framework</a:t>
            </a:r>
          </a:p>
          <a:p>
            <a:r>
              <a:rPr lang="en-GB" sz="1800" dirty="0" smtClean="0"/>
              <a:t>How </a:t>
            </a:r>
            <a:r>
              <a:rPr lang="en-GB" sz="1800" dirty="0" smtClean="0"/>
              <a:t>to structure a project that makes use of Entity Framework</a:t>
            </a:r>
          </a:p>
          <a:p>
            <a:pPr lvl="2"/>
            <a:r>
              <a:rPr lang="en-GB" sz="1800" dirty="0" smtClean="0"/>
              <a:t>Unit of Work Pattern</a:t>
            </a:r>
          </a:p>
          <a:p>
            <a:pPr lvl="3"/>
            <a:r>
              <a:rPr lang="en-GB" sz="1600" dirty="0" smtClean="0"/>
              <a:t>Repository Pattern</a:t>
            </a:r>
          </a:p>
          <a:p>
            <a:pPr lvl="2"/>
            <a:r>
              <a:rPr lang="en-GB" sz="1800" dirty="0" smtClean="0"/>
              <a:t>Entity Framework Testing</a:t>
            </a:r>
          </a:p>
          <a:p>
            <a:pPr lvl="3"/>
            <a:r>
              <a:rPr lang="en-GB" sz="1800" dirty="0" smtClean="0"/>
              <a:t>How to Mock the </a:t>
            </a:r>
            <a:r>
              <a:rPr lang="en-GB" sz="1800" dirty="0" err="1" smtClean="0"/>
              <a:t>DbSet</a:t>
            </a:r>
            <a:r>
              <a:rPr lang="en-GB" sz="1800" dirty="0" smtClean="0"/>
              <a:t> – See </a:t>
            </a:r>
            <a:r>
              <a:rPr lang="en-GB" sz="1800" dirty="0" smtClean="0"/>
              <a:t>Pre-Release </a:t>
            </a:r>
            <a:r>
              <a:rPr lang="en-GB" sz="1800" dirty="0" err="1" smtClean="0"/>
              <a:t>Nuget</a:t>
            </a:r>
            <a:r>
              <a:rPr lang="en-GB" sz="1800" dirty="0" smtClean="0"/>
              <a:t> </a:t>
            </a:r>
            <a:r>
              <a:rPr lang="en-GB" sz="1800" dirty="0" smtClean="0"/>
              <a:t>Packages</a:t>
            </a:r>
          </a:p>
          <a:p>
            <a:pPr lvl="4"/>
            <a:r>
              <a:rPr lang="en-GB" sz="1800" dirty="0" err="1" smtClean="0"/>
              <a:t>EntityFramework.Testing.Moq</a:t>
            </a:r>
            <a:endParaRPr lang="en-GB" sz="1800" dirty="0"/>
          </a:p>
          <a:p>
            <a:pPr lvl="4"/>
            <a:r>
              <a:rPr lang="en-GB" sz="1800" dirty="0" err="1" smtClean="0"/>
              <a:t>EntityFramework.Testing</a:t>
            </a:r>
            <a:endParaRPr lang="en-GB" sz="1800" dirty="0" smtClean="0"/>
          </a:p>
          <a:p>
            <a:r>
              <a:rPr lang="en-GB" sz="1800" dirty="0"/>
              <a:t>Entity Framework 6 Performance Tips</a:t>
            </a:r>
          </a:p>
          <a:p>
            <a:r>
              <a:rPr lang="en-GB" sz="1800" dirty="0" smtClean="0"/>
              <a:t>What’s </a:t>
            </a:r>
            <a:r>
              <a:rPr lang="en-GB" sz="1800" dirty="0" smtClean="0"/>
              <a:t>in Entity Framework 7</a:t>
            </a:r>
          </a:p>
          <a:p>
            <a:r>
              <a:rPr lang="en-GB" sz="1800" dirty="0" smtClean="0"/>
              <a:t>Other Micro ORMS to consider</a:t>
            </a:r>
          </a:p>
          <a:p>
            <a:pPr lvl="1"/>
            <a:r>
              <a:rPr lang="en-GB" sz="1800" dirty="0" smtClean="0"/>
              <a:t>Performance tests against Entity Framework 6</a:t>
            </a:r>
          </a:p>
          <a:p>
            <a:endParaRPr lang="en-GB" dirty="0" smtClean="0"/>
          </a:p>
          <a:p>
            <a:endParaRPr lang="en-GB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y experience with Entity Framework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Rectangle 2"/>
          <p:cNvSpPr/>
          <p:nvPr/>
        </p:nvSpPr>
        <p:spPr>
          <a:xfrm>
            <a:off x="697630" y="1394114"/>
            <a:ext cx="2366247" cy="488373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 smtClean="0"/>
              <a:t>Linq</a:t>
            </a:r>
            <a:r>
              <a:rPr lang="en-GB" dirty="0" smtClean="0"/>
              <a:t> Provider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685799" y="2242705"/>
            <a:ext cx="2389909" cy="488373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Change Tracker</a:t>
            </a:r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697630" y="4355524"/>
            <a:ext cx="2389909" cy="488373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Unit of Work</a:t>
            </a: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697630" y="3165764"/>
            <a:ext cx="2389909" cy="488373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DB Migrations</a:t>
            </a:r>
            <a:endParaRPr lang="en-GB" dirty="0"/>
          </a:p>
        </p:txBody>
      </p:sp>
      <p:sp>
        <p:nvSpPr>
          <p:cNvPr id="8" name="Rectangle 7"/>
          <p:cNvSpPr/>
          <p:nvPr/>
        </p:nvSpPr>
        <p:spPr>
          <a:xfrm>
            <a:off x="697630" y="5204115"/>
            <a:ext cx="2389909" cy="488373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Code First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>
          <a:xfrm>
            <a:off x="3896591" y="4355525"/>
            <a:ext cx="2389909" cy="351558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Command Interceptors</a:t>
            </a:r>
            <a:endParaRPr lang="en-GB" dirty="0"/>
          </a:p>
        </p:txBody>
      </p:sp>
      <p:sp>
        <p:nvSpPr>
          <p:cNvPr id="10" name="Rectangle 9"/>
          <p:cNvSpPr/>
          <p:nvPr/>
        </p:nvSpPr>
        <p:spPr>
          <a:xfrm>
            <a:off x="3896590" y="4859483"/>
            <a:ext cx="2389909" cy="351558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Validation Attributes</a:t>
            </a:r>
            <a:endParaRPr lang="en-GB" dirty="0"/>
          </a:p>
        </p:txBody>
      </p:sp>
      <p:sp>
        <p:nvSpPr>
          <p:cNvPr id="11" name="Rectangle 10"/>
          <p:cNvSpPr/>
          <p:nvPr/>
        </p:nvSpPr>
        <p:spPr>
          <a:xfrm>
            <a:off x="3896589" y="5363441"/>
            <a:ext cx="2389909" cy="351558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Validation Attribut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62333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eader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 smtClean="0"/>
              <a:t>sadsd</a:t>
            </a:r>
            <a:endParaRPr lang="en-GB" dirty="0" smtClean="0"/>
          </a:p>
          <a:p>
            <a:pPr marL="90000" indent="0">
              <a:buNone/>
            </a:pPr>
            <a:endParaRPr lang="en-GB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1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i="1" dirty="0" smtClean="0"/>
              <a:t>2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336401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ntity Framework 6 New Featur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1083302"/>
            <a:ext cx="9073222" cy="4901896"/>
          </a:xfrm>
        </p:spPr>
        <p:txBody>
          <a:bodyPr/>
          <a:lstStyle/>
          <a:p>
            <a:r>
              <a:rPr lang="en-GB" dirty="0" smtClean="0"/>
              <a:t>Asynchronous query and save</a:t>
            </a:r>
          </a:p>
          <a:p>
            <a:r>
              <a:rPr lang="en-GB" dirty="0" smtClean="0"/>
              <a:t>Connection resiliency</a:t>
            </a:r>
          </a:p>
          <a:p>
            <a:r>
              <a:rPr lang="en-GB" dirty="0" smtClean="0"/>
              <a:t>Code based configuration</a:t>
            </a:r>
          </a:p>
          <a:p>
            <a:r>
              <a:rPr lang="en-GB" dirty="0" smtClean="0"/>
              <a:t>Database command interception and logging</a:t>
            </a:r>
          </a:p>
          <a:p>
            <a:r>
              <a:rPr lang="en-GB" dirty="0" smtClean="0"/>
              <a:t>Code first CRUD stored procedures</a:t>
            </a:r>
          </a:p>
          <a:p>
            <a:r>
              <a:rPr lang="en-GB" dirty="0" smtClean="0"/>
              <a:t>Multiple contexts per database</a:t>
            </a:r>
          </a:p>
          <a:p>
            <a:r>
              <a:rPr lang="en-GB" dirty="0" smtClean="0"/>
              <a:t>Default transaction level for generated code first DB is now READ_COMMITTED_SNAPSHOT</a:t>
            </a:r>
          </a:p>
          <a:p>
            <a:r>
              <a:rPr lang="en-GB" dirty="0" err="1" smtClean="0"/>
              <a:t>Enums</a:t>
            </a:r>
            <a:r>
              <a:rPr lang="en-GB" dirty="0" smtClean="0"/>
              <a:t> and spatial support</a:t>
            </a:r>
          </a:p>
          <a:p>
            <a:r>
              <a:rPr lang="en-GB" dirty="0" smtClean="0"/>
              <a:t>Nested Entity Types</a:t>
            </a:r>
          </a:p>
          <a:p>
            <a:r>
              <a:rPr lang="en-GB" dirty="0" smtClean="0"/>
              <a:t>Support for a default Schema – </a:t>
            </a:r>
            <a:r>
              <a:rPr lang="en-GB" dirty="0" err="1" smtClean="0"/>
              <a:t>DBModelBuilder.HasDefaultSchema</a:t>
            </a:r>
            <a:endParaRPr lang="en-GB" dirty="0" smtClean="0"/>
          </a:p>
          <a:p>
            <a:r>
              <a:rPr lang="en-GB" dirty="0" smtClean="0"/>
              <a:t>Configurable migrations history table</a:t>
            </a:r>
          </a:p>
          <a:p>
            <a:r>
              <a:rPr lang="en-GB" dirty="0" smtClean="0"/>
              <a:t>Creating context with an open connection</a:t>
            </a:r>
          </a:p>
          <a:p>
            <a:r>
              <a:rPr lang="en-GB" dirty="0" smtClean="0"/>
              <a:t>Improved transaction support</a:t>
            </a:r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516999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Question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480225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f47fad2980124742eb3a1b2ef6477a9279f5fc26"/>
  <p:tag name="THINKCELLUNDODONOTDELET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40Q.0YeUylzlnQGCrK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QVzqNJ5ECyrCnO9Yao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8FFcjiAkqT_6g2kg4w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16faVcKUuJo59ByuBG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qaaRVOLUWeGHe9OGQ5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youylUsE.ha3eTm5ACjw"/>
</p:tagLst>
</file>

<file path=ppt/theme/theme1.xml><?xml version="1.0" encoding="utf-8"?>
<a:theme xmlns:a="http://schemas.openxmlformats.org/drawingml/2006/main" name="Marketing&amp;TradingTheme">
  <a:themeElements>
    <a:clrScheme name="Custom 1">
      <a:dk1>
        <a:srgbClr val="454647"/>
      </a:dk1>
      <a:lt1>
        <a:srgbClr val="FFFFFF"/>
      </a:lt1>
      <a:dk2>
        <a:srgbClr val="00355F"/>
      </a:dk2>
      <a:lt2>
        <a:srgbClr val="8B8D8E"/>
      </a:lt2>
      <a:accent1>
        <a:srgbClr val="E98300"/>
      </a:accent1>
      <a:accent2>
        <a:srgbClr val="00ADEE"/>
      </a:accent2>
      <a:accent3>
        <a:srgbClr val="007BC5"/>
      </a:accent3>
      <a:accent4>
        <a:srgbClr val="4895D4"/>
      </a:accent4>
      <a:accent5>
        <a:srgbClr val="67696A"/>
      </a:accent5>
      <a:accent6>
        <a:srgbClr val="393A3E"/>
      </a:accent6>
      <a:hlink>
        <a:srgbClr val="D52B1E"/>
      </a:hlink>
      <a:folHlink>
        <a:srgbClr val="E98300"/>
      </a:folHlink>
    </a:clrScheme>
    <a:fontScheme name="Gazprom">
      <a:majorFont>
        <a:latin typeface="Calibri"/>
        <a:ea typeface="ヒラギノ角ゴ Pro W3"/>
        <a:cs typeface=""/>
      </a:majorFont>
      <a:minorFont>
        <a:latin typeface="Calibri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18pt Font 1">
        <a:dk1>
          <a:srgbClr val="4D4E53"/>
        </a:dk1>
        <a:lt1>
          <a:srgbClr val="FFFFFF"/>
        </a:lt1>
        <a:dk2>
          <a:srgbClr val="0065BD"/>
        </a:dk2>
        <a:lt2>
          <a:srgbClr val="8B8D8E"/>
        </a:lt2>
        <a:accent1>
          <a:srgbClr val="E98300"/>
        </a:accent1>
        <a:accent2>
          <a:srgbClr val="D52B1E"/>
        </a:accent2>
        <a:accent3>
          <a:srgbClr val="FFFFFF"/>
        </a:accent3>
        <a:accent4>
          <a:srgbClr val="404146"/>
        </a:accent4>
        <a:accent5>
          <a:srgbClr val="F2C1AA"/>
        </a:accent5>
        <a:accent6>
          <a:srgbClr val="C1261A"/>
        </a:accent6>
        <a:hlink>
          <a:srgbClr val="69BE28"/>
        </a:hlink>
        <a:folHlink>
          <a:srgbClr val="9350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3f10cd6e-67ef-4e06-a184-a118dcfc3794">NJN2WT7UW3MH-7-135</_dlc_DocId>
    <_dlc_DocIdUrl xmlns="3f10cd6e-67ef-4e06-a184-a118dcfc3794">
      <Url>http://gmt-teams/support/softdev/_layouts/DocIdRedir.aspx?ID=NJN2WT7UW3MH-7-135</Url>
      <Description>NJN2WT7UW3MH-7-135</Description>
    </_dlc_DocIdUrl>
    <AverageRating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9A9BCA57566D4188E9CA16F86D6408" ma:contentTypeVersion="2" ma:contentTypeDescription="Create a new document." ma:contentTypeScope="" ma:versionID="290b8c847d18631d1d483ff51e5fcd5a">
  <xsd:schema xmlns:xsd="http://www.w3.org/2001/XMLSchema" xmlns:xs="http://www.w3.org/2001/XMLSchema" xmlns:p="http://schemas.microsoft.com/office/2006/metadata/properties" xmlns:ns1="http://schemas.microsoft.com/sharepoint/v3" xmlns:ns2="3f10cd6e-67ef-4e06-a184-a118dcfc3794" targetNamespace="http://schemas.microsoft.com/office/2006/metadata/properties" ma:root="true" ma:fieldsID="22722b2315d693ca6744ca36c727b733" ns1:_="" ns2:_="">
    <xsd:import namespace="http://schemas.microsoft.com/sharepoint/v3"/>
    <xsd:import namespace="3f10cd6e-67ef-4e06-a184-a118dcfc379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11" nillable="true" ma:displayName="Rating (0-5)" ma:decimals="2" ma:description="Average value of all the ratings that have been submitted" ma:indexed="true" ma:internalName="AverageRating" ma:readOnly="true">
      <xsd:simpleType>
        <xsd:restriction base="dms:Number"/>
      </xsd:simpleType>
    </xsd:element>
    <xsd:element name="RatingCount" ma:index="12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10cd6e-67ef-4e06-a184-a118dcfc379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2574B6B6-859E-4D47-B5B5-2F8A663167D3}">
  <ds:schemaRefs>
    <ds:schemaRef ds:uri="http://schemas.microsoft.com/office/2006/metadata/properties"/>
    <ds:schemaRef ds:uri="http://schemas.microsoft.com/office/infopath/2007/PartnerControls"/>
    <ds:schemaRef ds:uri="3f10cd6e-67ef-4e06-a184-a118dcfc3794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D558CF23-FCB3-4D64-BEEA-3B9519B023D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E4AC93A-CA33-4EB8-84AE-434C71C043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f10cd6e-67ef-4e06-a184-a118dcfc37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5BC4B29C-4555-46F6-A281-17873862A286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603</TotalTime>
  <Words>163</Words>
  <Application>Microsoft Office PowerPoint</Application>
  <PresentationFormat>A4 Paper (210x297 mm)</PresentationFormat>
  <Paragraphs>48</Paragraphs>
  <Slides>6</Slides>
  <Notes>0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  <vt:variant>
        <vt:lpstr>Custom Shows</vt:lpstr>
      </vt:variant>
      <vt:variant>
        <vt:i4>1</vt:i4>
      </vt:variant>
    </vt:vector>
  </HeadingPairs>
  <TitlesOfParts>
    <vt:vector size="9" baseType="lpstr">
      <vt:lpstr>Marketing&amp;TradingTheme</vt:lpstr>
      <vt:lpstr>think-cell Slide</vt:lpstr>
      <vt:lpstr>Tech Punch</vt:lpstr>
      <vt:lpstr>Agenda</vt:lpstr>
      <vt:lpstr>My experience with Entity Framework</vt:lpstr>
      <vt:lpstr>Header</vt:lpstr>
      <vt:lpstr>Entity Framework 6 New Features</vt:lpstr>
      <vt:lpstr>Questions</vt:lpstr>
      <vt:lpstr>Contacts</vt:lpstr>
    </vt:vector>
  </TitlesOfParts>
  <Company>Gazprom Marketing &amp; Trad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 Punch - Cryptography &amp; Secure Communications</dc:title>
  <dc:creator>Chitra Ramalingam</dc:creator>
  <cp:lastModifiedBy>jean</cp:lastModifiedBy>
  <cp:revision>59</cp:revision>
  <dcterms:created xsi:type="dcterms:W3CDTF">2015-12-14T09:13:31Z</dcterms:created>
  <dcterms:modified xsi:type="dcterms:W3CDTF">2016-01-23T22:20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9A9BCA57566D4188E9CA16F86D6408</vt:lpwstr>
  </property>
  <property fmtid="{D5CDD505-2E9C-101B-9397-08002B2CF9AE}" pid="3" name="_dlc_DocIdItemGuid">
    <vt:lpwstr>c39acb17-9bcc-4f72-91ee-6a6437fb2f21</vt:lpwstr>
  </property>
</Properties>
</file>